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  <p:sldMasterId id="2147483713" r:id="rId5"/>
  </p:sldMasterIdLst>
  <p:notesMasterIdLst>
    <p:notesMasterId r:id="rId7"/>
  </p:notesMasterIdLst>
  <p:sldIdLst>
    <p:sldId id="2147471230" r:id="rId6"/>
  </p:sldIdLst>
  <p:sldSz cx="12192000" cy="6858000"/>
  <p:notesSz cx="7010400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C3D142B0-1626-A402-9F44-F39EBFB49FBD}" name="Eshan Vasudeva" initials="EV" userId="S::eshan.vasudeva@populationhp.com::8fd6d2dc-4408-45c9-b9c9-302955e1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52"/>
    <a:srgbClr val="DE5900"/>
    <a:srgbClr val="DE5A00"/>
    <a:srgbClr val="003A28"/>
    <a:srgbClr val="FFCEB3"/>
    <a:srgbClr val="FFE1D1"/>
    <a:srgbClr val="E06258"/>
    <a:srgbClr val="D5FFF2"/>
    <a:srgbClr val="A24200"/>
    <a:srgbClr val="FF5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2DBBEB-8239-468D-96F6-B2CE832DA6B4}" v="1" dt="2023-12-04T16:21:06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46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67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8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1/1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Relationship Id="rId9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8849A7-491E-ABDC-F31E-413A04A297AC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FBE1B0-06D5-5C2D-A278-20EA0C120FC9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DFAD4B1-D27F-0F8A-5D2B-CA1861E73D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287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5D73040-FD4D-2CD8-6401-6553E3F34C19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C970D55-B00E-6D6E-B1AB-F97A4199570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39A400C-7A85-607E-C361-564594F455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753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068402-C27E-3BB5-CD59-1D753A3C5B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068402-C27E-3BB5-CD59-1D753A3C5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91FF88-5AF9-2314-E9C6-BE907DEB7268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1EF79F8-5D2E-778B-6E16-1DA65DF077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011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482FE6-D2C7-E676-F74F-B481B41B5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482FE6-D2C7-E676-F74F-B481B41B5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5A7C83-3BFD-1330-108F-0BD11870EBA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5395A6-0290-3BEB-46C0-2FDE77AD3DC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AB5DE0-3C4B-C127-317C-B20927CC6ABD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129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FEF0509-D5A0-B5C7-7F2D-37B2E80C974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866881E-B59E-C220-94D7-F2580463AD1D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533C9D2-0917-38E9-7B0E-90C1CDAC11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296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5B65C1-7EC8-6942-DE51-E76A5455F021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7A0C6C3-E820-0F69-93D0-8843D4AA4D2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379E0EE7-5C74-C52D-E5B4-E9EB02E26E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99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anuary 2024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0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6" progId="TCLayout.ActiveDocument.1">
                  <p:embed/>
                </p:oleObj>
              </mc:Choice>
              <mc:Fallback>
                <p:oleObj name="think-cell Slide" r:id="rId12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anuary 2024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E017C-B21B-BC61-5692-4DD2E27C9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E017C-B21B-BC61-5692-4DD2E27C9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24D28F-ACC4-6373-B61F-030FBEFBB16A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57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3EEB6B-616A-8C64-CABD-C3D4B83A1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64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EEB6B-616A-8C64-CABD-C3D4B83A1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277A7F5-FB48-D8E7-4F3E-3B4635454C0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SHAPER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Creates assumption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nerates hypothesi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Draws inference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Understands limitations 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Asks direct questions about problem at hand to those individuals immediately available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Personally investigates problems by going directly to sources of information 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Asks a series of probing questions to get at the root of a situation or a problem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Does research by making a systematic effort over a limited period of time to obtain needed data or feedback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Involves others who would not normally be involved including experts or outside organizations; may get them to seek out information</a:t>
            </a:r>
            <a:endParaRPr lang="en-US" sz="110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249D9A-F389-DD26-25B3-943C97A3A62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PRODUCER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Synthesizes background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ums current state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Devises method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Manages proces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nerates data outputs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Avoids leadership responsibilities; does not provide direction to learn 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Assigns task to team members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Solicits ideas and perspectives from the team; holds members accountable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Actively engages the team to develop plans and resolve issues through collaboration; shows how work fits in with what others are doing 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Recruits others into duties or roles based on individual abilities; rewards those who exceed expectations</a:t>
            </a:r>
          </a:p>
          <a:p>
            <a:pPr lvl="1"/>
            <a:endParaRPr lang="en-US" sz="12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2D5DB1-13FA-7C29-321F-0A919B2BC21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COMMUNICATOR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Describes rationale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elects key information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ummarizes result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killed in speaking and writing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Sometimes rambles or is occasionally unfocused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Is generally to the point and organized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Presents views clearly and in a well-structured manner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Presents views clearly and demonstrates understanding of the responses of others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Presents views clearly; solicits opinions and concerns; discusses them openl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37F18-1A45-5512-A9BB-BFBD4B135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ENC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4AC010-F695-FBEC-037C-E6BF15DB3D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ealth Scie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13640A-EE30-AB2D-B2FE-9AAA05BD0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80EE0-04CA-FDB4-EB63-47F65C697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 |  January 2024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D77514-3E11-E8DF-5595-F2CC33AD0D7D}"/>
              </a:ext>
            </a:extLst>
          </p:cNvPr>
          <p:cNvCxnSpPr/>
          <p:nvPr/>
        </p:nvCxnSpPr>
        <p:spPr>
          <a:xfrm>
            <a:off x="452024" y="1450991"/>
            <a:ext cx="33538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DB15DD1-1CD7-D959-A4A9-B52DD105A568}"/>
              </a:ext>
            </a:extLst>
          </p:cNvPr>
          <p:cNvCxnSpPr/>
          <p:nvPr/>
        </p:nvCxnSpPr>
        <p:spPr>
          <a:xfrm>
            <a:off x="4392653" y="1450991"/>
            <a:ext cx="33538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45C86AC-84A7-EE0F-CD61-22375BAB1FFE}"/>
              </a:ext>
            </a:extLst>
          </p:cNvPr>
          <p:cNvCxnSpPr/>
          <p:nvPr/>
        </p:nvCxnSpPr>
        <p:spPr>
          <a:xfrm>
            <a:off x="8355053" y="1450991"/>
            <a:ext cx="33538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5818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Metsera Theme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etsera Theme" id="{44BB0F2F-B502-44CF-844D-7C2E014FCCB7}" vid="{433E226A-F40A-4C4A-AEC1-550202E569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2F879D-8863-4808-8589-430CC253668D}">
  <ds:schemaRefs>
    <ds:schemaRef ds:uri="http://schemas.openxmlformats.org/package/2006/metadata/core-properties"/>
    <ds:schemaRef ds:uri="d8c535c6-63a4-4339-b449-26eeb0d3d3cb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ce1d24c5-b878-439b-8570-a7c8ba6bb6e0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CB894B-B7D0-4614-AF33-49D1B5D971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c535c6-63a4-4339-b449-26eeb0d3d3cb"/>
    <ds:schemaRef ds:uri="ce1d24c5-b878-439b-8570-a7c8ba6bb6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</TotalTime>
  <Words>286</Words>
  <Application>Microsoft Macintosh PowerPoint</Application>
  <PresentationFormat>Widescreen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ndara</vt:lpstr>
      <vt:lpstr>Franklin Gothic Heavy</vt:lpstr>
      <vt:lpstr>Gill Sans</vt:lpstr>
      <vt:lpstr>Tahoma</vt:lpstr>
      <vt:lpstr>Main Theme_Confidential</vt:lpstr>
      <vt:lpstr>Metsera Theme</vt:lpstr>
      <vt:lpstr>think-cell Slide</vt:lpstr>
      <vt:lpstr>COMPETENC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lastModifiedBy>Stuart Lopez</cp:lastModifiedBy>
  <cp:revision>55</cp:revision>
  <cp:lastPrinted>2022-12-22T18:37:53Z</cp:lastPrinted>
  <dcterms:created xsi:type="dcterms:W3CDTF">2022-10-11T20:38:03Z</dcterms:created>
  <dcterms:modified xsi:type="dcterms:W3CDTF">2024-01-17T19:2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